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257" r:id="rId6"/>
    <p:sldId id="258" r:id="rId7"/>
    <p:sldId id="259" r:id="rId8"/>
    <p:sldId id="261" r:id="rId9"/>
    <p:sldId id="262" r:id="rId10"/>
    <p:sldId id="263" r:id="rId11"/>
    <p:sldId id="265" r:id="rId12"/>
    <p:sldId id="264" r:id="rId13"/>
    <p:sldId id="266" r:id="rId14"/>
    <p:sldId id="268" r:id="rId15"/>
    <p:sldId id="269" r:id="rId16"/>
    <p:sldId id="270" r:id="rId17"/>
  </p:sldIdLst>
  <p:sldSz cx="12188825" cy="6858000"/>
  <p:notesSz cx="6858000" cy="92964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1pPr>
    <a:lvl2pPr marL="621866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2pPr>
    <a:lvl3pPr marL="1243732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3pPr>
    <a:lvl4pPr marL="1865597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4pPr>
    <a:lvl5pPr marL="2487465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5pPr>
    <a:lvl6pPr marL="3109330" algn="l" defTabSz="1243732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6pPr>
    <a:lvl7pPr marL="3731196" algn="l" defTabSz="1243732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7pPr>
    <a:lvl8pPr marL="4353062" algn="l" defTabSz="1243732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8pPr>
    <a:lvl9pPr marL="4974928" algn="l" defTabSz="1243732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18D"/>
    <a:srgbClr val="201D1F"/>
    <a:srgbClr val="1D4396"/>
    <a:srgbClr val="29934B"/>
    <a:srgbClr val="650934"/>
    <a:srgbClr val="B8782B"/>
    <a:srgbClr val="D0E7E3"/>
    <a:srgbClr val="2D308D"/>
    <a:srgbClr val="28944A"/>
    <a:srgbClr val="BBB9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997" autoAdjust="0"/>
    <p:restoredTop sz="93381" autoAdjust="0"/>
  </p:normalViewPr>
  <p:slideViewPr>
    <p:cSldViewPr snapToObjects="1">
      <p:cViewPr varScale="1">
        <p:scale>
          <a:sx n="82" d="100"/>
          <a:sy n="82" d="100"/>
        </p:scale>
        <p:origin x="82" y="197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0" d="100"/>
          <a:sy n="70" d="100"/>
        </p:scale>
        <p:origin x="-3270" y="-90"/>
      </p:cViewPr>
      <p:guideLst>
        <p:guide orient="horz" pos="2928"/>
        <p:guide pos="216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-203200" y="582613"/>
            <a:ext cx="7270750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5360" y="4995327"/>
            <a:ext cx="5844153" cy="1251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120220" y="8928490"/>
            <a:ext cx="54405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664208" y="93850"/>
            <a:ext cx="65" cy="125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defTabSz="1217822" rtl="0" eaLnBrk="0" fontAlgn="base" hangingPunct="0">
      <a:spcBef>
        <a:spcPct val="0"/>
      </a:spcBef>
      <a:spcAft>
        <a:spcPct val="0"/>
      </a:spcAft>
      <a:buClr>
        <a:schemeClr val="tx2"/>
      </a:buClr>
      <a:defRPr sz="2133" kern="1200">
        <a:solidFill>
          <a:schemeClr val="tx1"/>
        </a:solidFill>
        <a:latin typeface="Arial" charset="0"/>
        <a:ea typeface="+mn-ea"/>
        <a:cs typeface="+mn-cs"/>
      </a:defRPr>
    </a:lvl1pPr>
    <a:lvl2pPr marL="159785" indent="-157627" algn="l" defTabSz="121782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2133" kern="1200">
        <a:solidFill>
          <a:schemeClr val="tx1"/>
        </a:solidFill>
        <a:latin typeface="Arial" charset="0"/>
        <a:ea typeface="+mn-ea"/>
        <a:cs typeface="+mn-cs"/>
      </a:defRPr>
    </a:lvl2pPr>
    <a:lvl3pPr marL="408101" indent="-246156" algn="l" defTabSz="121782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2133" kern="1200">
        <a:solidFill>
          <a:schemeClr val="tx1"/>
        </a:solidFill>
        <a:latin typeface="Arial" charset="0"/>
        <a:ea typeface="+mn-ea"/>
        <a:cs typeface="+mn-cs"/>
      </a:defRPr>
    </a:lvl3pPr>
    <a:lvl4pPr marL="580841" indent="-170582" algn="l" defTabSz="121782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2133" kern="1200">
        <a:solidFill>
          <a:schemeClr val="tx1"/>
        </a:solidFill>
        <a:latin typeface="Arial" charset="0"/>
        <a:ea typeface="+mn-ea"/>
        <a:cs typeface="+mn-cs"/>
      </a:defRPr>
    </a:lvl4pPr>
    <a:lvl5pPr marL="738465" indent="-155466" algn="l" defTabSz="121782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2133" kern="1200">
        <a:solidFill>
          <a:schemeClr val="tx1"/>
        </a:solidFill>
        <a:latin typeface="Arial" charset="0"/>
        <a:ea typeface="+mn-ea"/>
        <a:cs typeface="+mn-cs"/>
      </a:defRPr>
    </a:lvl5pPr>
    <a:lvl6pPr marL="3109330" algn="l" defTabSz="124373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731196" algn="l" defTabSz="124373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353062" algn="l" defTabSz="124373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974928" algn="l" defTabSz="124373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3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3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8.xml"/><Relationship Id="rId7" Type="http://schemas.openxmlformats.org/officeDocument/2006/relationships/image" Target="../media/image5.emf"/><Relationship Id="rId2" Type="http://schemas.openxmlformats.org/officeDocument/2006/relationships/tags" Target="../tags/tag4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6">
            <a:extLst>
              <a:ext uri="{FF2B5EF4-FFF2-40B4-BE49-F238E27FC236}">
                <a16:creationId xmlns:a16="http://schemas.microsoft.com/office/drawing/2014/main" id="{33E9815C-7CBB-4EDC-8362-8BA91FB6347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08" r="46814" b="15992"/>
          <a:stretch/>
        </p:blipFill>
        <p:spPr bwMode="auto">
          <a:xfrm>
            <a:off x="-1588" y="945880"/>
            <a:ext cx="64770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5426455"/>
              </p:ext>
            </p:extLst>
          </p:nvPr>
        </p:nvGraphicFramePr>
        <p:xfrm>
          <a:off x="2119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7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620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30" name="Picture 4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999"/>
          <a:stretch/>
        </p:blipFill>
        <p:spPr bwMode="auto">
          <a:xfrm>
            <a:off x="5413" y="0"/>
            <a:ext cx="12193286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89511" y="3514985"/>
            <a:ext cx="5595087" cy="484303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="0" baseline="0" noProof="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="0" baseline="0" noProof="0" dirty="0">
                  <a:solidFill>
                    <a:schemeClr val="accent5">
                      <a:lumMod val="50000"/>
                    </a:schemeClr>
                  </a:solidFill>
                  <a:latin typeface="+mn-lt"/>
                </a:rPr>
                <a:t>Date</a:t>
              </a:r>
            </a:p>
          </p:txBody>
        </p:sp>
      </p:grpSp>
      <p:pic>
        <p:nvPicPr>
          <p:cNvPr id="11" name="Picture 46">
            <a:extLst>
              <a:ext uri="{FF2B5EF4-FFF2-40B4-BE49-F238E27FC236}">
                <a16:creationId xmlns:a16="http://schemas.microsoft.com/office/drawing/2014/main" id="{A6715F3E-33C6-4ED9-A38A-BD8C1DF48F3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23" t="59095" b="15556"/>
          <a:stretch/>
        </p:blipFill>
        <p:spPr bwMode="auto">
          <a:xfrm>
            <a:off x="6394923" y="4038844"/>
            <a:ext cx="5793902" cy="173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6">
            <a:extLst>
              <a:ext uri="{FF2B5EF4-FFF2-40B4-BE49-F238E27FC236}">
                <a16:creationId xmlns:a16="http://schemas.microsoft.com/office/drawing/2014/main" id="{26AC29C5-B377-4018-BCFB-EF063DCAD1D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6" t="84544" r="71843" b="682"/>
          <a:stretch/>
        </p:blipFill>
        <p:spPr bwMode="auto">
          <a:xfrm>
            <a:off x="150812" y="5748081"/>
            <a:ext cx="3075075" cy="1013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8"/>
            </p:custDataLst>
          </p:nvPr>
        </p:nvSpPr>
        <p:spPr bwMode="auto">
          <a:xfrm>
            <a:off x="4341812" y="565678"/>
            <a:ext cx="7140946" cy="815951"/>
          </a:xfrm>
          <a:prstGeom prst="rect">
            <a:avLst/>
          </a:prstGeom>
        </p:spPr>
        <p:txBody>
          <a:bodyPr/>
          <a:lstStyle>
            <a:lvl1pPr algn="l">
              <a:lnSpc>
                <a:spcPts val="3000"/>
              </a:lnSpc>
              <a:defRPr sz="2800" b="1" baseline="0">
                <a:solidFill>
                  <a:srgbClr val="2A318D"/>
                </a:solidFill>
                <a:latin typeface="Corbel" panose="020B0503020204020204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15" name="Picture 46">
            <a:extLst>
              <a:ext uri="{FF2B5EF4-FFF2-40B4-BE49-F238E27FC236}">
                <a16:creationId xmlns:a16="http://schemas.microsoft.com/office/drawing/2014/main" id="{C620D7E8-51AA-46FB-95E0-1BADD4829DE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17" t="88000" r="3108" b="3980"/>
          <a:stretch/>
        </p:blipFill>
        <p:spPr bwMode="auto">
          <a:xfrm>
            <a:off x="7889230" y="6093712"/>
            <a:ext cx="3230114" cy="486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auto">
          <a:xfrm>
            <a:off x="4341812" y="1385378"/>
            <a:ext cx="7140946" cy="1433778"/>
          </a:xfrm>
        </p:spPr>
        <p:txBody>
          <a:bodyPr wrap="square">
            <a:noAutofit/>
          </a:bodyPr>
          <a:lstStyle>
            <a:lvl1pPr algn="l">
              <a:defRPr sz="1800" b="0" baseline="0">
                <a:latin typeface="Calisto MT" panose="02040603050505030304" pitchFamily="18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5" userDrawn="1">
          <p15:clr>
            <a:srgbClr val="FBAE40"/>
          </p15:clr>
        </p15:guide>
        <p15:guide id="2" pos="7583" userDrawn="1">
          <p15:clr>
            <a:srgbClr val="FBAE40"/>
          </p15:clr>
        </p15:guide>
        <p15:guide id="3" orient="horz" pos="4128" userDrawn="1">
          <p15:clr>
            <a:srgbClr val="FBAE40"/>
          </p15:clr>
        </p15:guide>
        <p15:guide id="4" orient="horz" pos="9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hart Placeholder 3">
            <a:extLst>
              <a:ext uri="{FF2B5EF4-FFF2-40B4-BE49-F238E27FC236}">
                <a16:creationId xmlns:a16="http://schemas.microsoft.com/office/drawing/2014/main" id="{F884EE12-BAEB-4FFB-9408-9CB631AE28D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0813" y="1151166"/>
            <a:ext cx="11887200" cy="410663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D15B615-A3D5-4D4D-B47C-F8AFD6AB56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824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370AF-2628-41DC-96D6-467BC54D8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E26DD32-AA57-4EB2-B6DF-366085B54478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4ADA781-AAA6-4444-B86C-4474D5BEE43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149D34B-CD21-486D-9CCE-0061B310BF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A7BAAA1-5ECC-4DCA-992F-55FC103AA9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1EF159-99AF-4114-A722-CF30CAE8DA97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0" name="Slide Number">
            <a:extLst>
              <a:ext uri="{FF2B5EF4-FFF2-40B4-BE49-F238E27FC236}">
                <a16:creationId xmlns:a16="http://schemas.microsoft.com/office/drawing/2014/main" id="{5034AC9E-6906-4987-83C8-22F84A8FD748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7425F424-386F-4CA8-8139-A9BA42DBE6E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50813" y="1151166"/>
            <a:ext cx="11887200" cy="4088654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0E6B575-4C8F-41CD-B498-A94AB6560B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349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5FDC03-4BDF-42EC-954D-811C7B962B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1922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91896FF-0ECF-4F51-BB3E-77D836ACDB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61867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973D8BF-B4BD-4342-A0CE-A74BFEF2F72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72923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C6F838B-278D-41E1-9E69-8CB42B2B67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71922" y="2096126"/>
            <a:ext cx="3843979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8690971-BBB9-4759-9F7B-2B94A4C3042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61867" y="2096126"/>
            <a:ext cx="3843981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3879BBF-2019-47E3-86E6-44FE544F055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72923" y="2096126"/>
            <a:ext cx="3801762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01A05C-4E59-4DE2-9F5A-0DE4D1BEA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6167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text box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5FDC03-4BDF-42EC-954D-811C7B962B2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71922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91896FF-0ECF-4F51-BB3E-77D836ACDB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61867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973D8BF-B4BD-4342-A0CE-A74BFEF2F72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72923" y="1676400"/>
            <a:ext cx="3865090" cy="415539"/>
          </a:xfrm>
          <a:solidFill>
            <a:srgbClr val="2A318D"/>
          </a:solidFill>
        </p:spPr>
        <p:txBody>
          <a:bodyPr lIns="91440" tIns="4572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C6F838B-278D-41E1-9E69-8CB42B2B67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71922" y="2096126"/>
            <a:ext cx="3843979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C8690971-BBB9-4759-9F7B-2B94A4C3042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61867" y="2096126"/>
            <a:ext cx="3843981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3879BBF-2019-47E3-86E6-44FE544F055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72923" y="2096126"/>
            <a:ext cx="3801762" cy="2895600"/>
          </a:xfrm>
        </p:spPr>
        <p:txBody>
          <a:bodyPr lIns="91440" tIns="45720"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CE40BF6-FCFF-4DD0-8F6A-58981487D98D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308F924-C602-4A19-9C61-29D55DAFD0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69F299B-D703-4489-98B3-968ADB569D4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2E6E8CF-1B53-44AB-8250-7FFAF9ABCE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9B82CB6-EA86-472B-B244-957B6C9F1B51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Slide Number">
            <a:extLst>
              <a:ext uri="{FF2B5EF4-FFF2-40B4-BE49-F238E27FC236}">
                <a16:creationId xmlns:a16="http://schemas.microsoft.com/office/drawing/2014/main" id="{2D15A9F1-0F51-40C4-AE24-7DD2DE564C4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E4E4D93-537A-49E2-A735-4B905BAE9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0310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4472"/>
              </p:ext>
            </p:extLst>
          </p:nvPr>
        </p:nvGraphicFramePr>
        <p:xfrm>
          <a:off x="0" y="1"/>
          <a:ext cx="211612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12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BA0FADEF-1004-4D4E-B584-BF94527E95D7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50813" y="475732"/>
            <a:ext cx="6095999" cy="675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F76C73-1C53-48D6-A496-C9BF9857961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6812" y="381837"/>
            <a:ext cx="5791200" cy="55617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8A1E03-AC39-4C4B-8E9A-0082C7EFB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3" y="1151166"/>
            <a:ext cx="6095998" cy="3954234"/>
          </a:xfrm>
        </p:spPr>
        <p:txBody>
          <a:bodyPr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0CF720EA-C71B-4721-A97B-7DD62A1B42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rightside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456717"/>
              </p:ext>
            </p:extLst>
          </p:nvPr>
        </p:nvGraphicFramePr>
        <p:xfrm>
          <a:off x="0" y="1"/>
          <a:ext cx="211612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12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BA0FADEF-1004-4D4E-B584-BF94527E95D7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50813" y="475732"/>
            <a:ext cx="6095999" cy="675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F76C73-1C53-48D6-A496-C9BF9857961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6812" y="381837"/>
            <a:ext cx="5791200" cy="55617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88A1E03-AC39-4C4B-8E9A-0082C7EFB1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3" y="1151166"/>
            <a:ext cx="6095998" cy="3954234"/>
          </a:xfrm>
        </p:spPr>
        <p:txBody>
          <a:bodyPr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6917DAE-3FD7-4BA8-A7F5-6FFB7D6B542D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7F157EC-1A9C-48E2-916D-A008D779D7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EB15B6F-AC8D-473E-8DF7-CF3A465A690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C43FE8F-D219-4B0C-BD44-745CBD39EC1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D4011FA-A916-4E0A-9F35-D9AD642C1B2F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7A59E788-6D0B-49F1-A332-B7DBC6F38C2C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48EB171-2889-474B-ABCB-3F8BE08F7D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8264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AA2CA-4953-4B32-8AE6-D2DAEF452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FC1417A-FE46-4D14-B76B-A52EBA72EB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0813" y="1150938"/>
            <a:ext cx="11887200" cy="55546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AC77FB-BF3A-48DD-BBCF-ED9D906592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56"/>
          <a:stretch/>
        </p:blipFill>
        <p:spPr>
          <a:xfrm>
            <a:off x="1" y="5181604"/>
            <a:ext cx="12177994" cy="1676396"/>
          </a:xfrm>
          <a:prstGeom prst="rect">
            <a:avLst/>
          </a:prstGeom>
        </p:spPr>
      </p:pic>
      <p:sp>
        <p:nvSpPr>
          <p:cNvPr id="6" name="Slide Number">
            <a:extLst>
              <a:ext uri="{FF2B5EF4-FFF2-40B4-BE49-F238E27FC236}">
                <a16:creationId xmlns:a16="http://schemas.microsoft.com/office/drawing/2014/main" id="{7DF72143-8DB9-4740-BEEA-6A60C98AE4D2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4843" y="641643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731AAA5-06C0-47BB-B46C-7892E98095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3475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fullpage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AA2CA-4953-4B32-8AE6-D2DAEF452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FC1417A-FE46-4D14-B76B-A52EBA72EB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0813" y="1150938"/>
            <a:ext cx="11887200" cy="55546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49F511E-28FE-46FC-A2F0-BCEE66E99C58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B298A73-3EA1-4203-833B-3A3A81D054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A244C82-FE8E-492C-A6EE-0483ED4021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F199439-6127-494A-BF47-6AA776E944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5CAA1CE-4DB2-49D8-8FE5-C1CC7502BE56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Slide Number">
            <a:extLst>
              <a:ext uri="{FF2B5EF4-FFF2-40B4-BE49-F238E27FC236}">
                <a16:creationId xmlns:a16="http://schemas.microsoft.com/office/drawing/2014/main" id="{FC8761D8-DE17-447C-9DE1-8735D5513584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E8F3788A-B1BD-4E5C-82E9-F619523506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054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AA2CA-4953-4B32-8AE6-D2DAEF452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FC1417A-FE46-4D14-B76B-A52EBA72EB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6531517" y="357117"/>
            <a:ext cx="5514581" cy="6358529"/>
          </a:xfrm>
          <a:custGeom>
            <a:avLst/>
            <a:gdLst>
              <a:gd name="connsiteX0" fmla="*/ 0 w 11887199"/>
              <a:gd name="connsiteY0" fmla="*/ 5554662 h 5554662"/>
              <a:gd name="connsiteX1" fmla="*/ 2694955 w 11887199"/>
              <a:gd name="connsiteY1" fmla="*/ 0 h 5554662"/>
              <a:gd name="connsiteX2" fmla="*/ 9192244 w 11887199"/>
              <a:gd name="connsiteY2" fmla="*/ 0 h 5554662"/>
              <a:gd name="connsiteX3" fmla="*/ 11887199 w 11887199"/>
              <a:gd name="connsiteY3" fmla="*/ 5554662 h 5554662"/>
              <a:gd name="connsiteX4" fmla="*/ 0 w 11887199"/>
              <a:gd name="connsiteY4" fmla="*/ 5554662 h 5554662"/>
              <a:gd name="connsiteX0" fmla="*/ 0 w 11887199"/>
              <a:gd name="connsiteY0" fmla="*/ 5554662 h 5554662"/>
              <a:gd name="connsiteX1" fmla="*/ 2694955 w 11887199"/>
              <a:gd name="connsiteY1" fmla="*/ 0 h 5554662"/>
              <a:gd name="connsiteX2" fmla="*/ 11885203 w 11887199"/>
              <a:gd name="connsiteY2" fmla="*/ 10049 h 5554662"/>
              <a:gd name="connsiteX3" fmla="*/ 11887199 w 11887199"/>
              <a:gd name="connsiteY3" fmla="*/ 5554662 h 5554662"/>
              <a:gd name="connsiteX4" fmla="*/ 0 w 11887199"/>
              <a:gd name="connsiteY4" fmla="*/ 5554662 h 5554662"/>
              <a:gd name="connsiteX0" fmla="*/ 0 w 11887199"/>
              <a:gd name="connsiteY0" fmla="*/ 6278143 h 6278143"/>
              <a:gd name="connsiteX1" fmla="*/ 8010533 w 11887199"/>
              <a:gd name="connsiteY1" fmla="*/ 0 h 6278143"/>
              <a:gd name="connsiteX2" fmla="*/ 11885203 w 11887199"/>
              <a:gd name="connsiteY2" fmla="*/ 733530 h 6278143"/>
              <a:gd name="connsiteX3" fmla="*/ 11887199 w 11887199"/>
              <a:gd name="connsiteY3" fmla="*/ 6278143 h 6278143"/>
              <a:gd name="connsiteX4" fmla="*/ 0 w 11887199"/>
              <a:gd name="connsiteY4" fmla="*/ 6278143 h 6278143"/>
              <a:gd name="connsiteX0" fmla="*/ 0 w 11895284"/>
              <a:gd name="connsiteY0" fmla="*/ 6328384 h 6328384"/>
              <a:gd name="connsiteX1" fmla="*/ 8010533 w 11895284"/>
              <a:gd name="connsiteY1" fmla="*/ 50241 h 6328384"/>
              <a:gd name="connsiteX2" fmla="*/ 11895251 w 11895284"/>
              <a:gd name="connsiteY2" fmla="*/ 0 h 6328384"/>
              <a:gd name="connsiteX3" fmla="*/ 11887199 w 11895284"/>
              <a:gd name="connsiteY3" fmla="*/ 6328384 h 6328384"/>
              <a:gd name="connsiteX4" fmla="*/ 0 w 11895284"/>
              <a:gd name="connsiteY4" fmla="*/ 6328384 h 6328384"/>
              <a:gd name="connsiteX0" fmla="*/ 0 w 11895284"/>
              <a:gd name="connsiteY0" fmla="*/ 6328384 h 6328384"/>
              <a:gd name="connsiteX1" fmla="*/ 8020581 w 11895284"/>
              <a:gd name="connsiteY1" fmla="*/ 10047 h 6328384"/>
              <a:gd name="connsiteX2" fmla="*/ 11895251 w 11895284"/>
              <a:gd name="connsiteY2" fmla="*/ 0 h 6328384"/>
              <a:gd name="connsiteX3" fmla="*/ 11887199 w 11895284"/>
              <a:gd name="connsiteY3" fmla="*/ 6328384 h 6328384"/>
              <a:gd name="connsiteX4" fmla="*/ 0 w 11895284"/>
              <a:gd name="connsiteY4" fmla="*/ 6328384 h 6328384"/>
              <a:gd name="connsiteX0" fmla="*/ 0 w 5514581"/>
              <a:gd name="connsiteY0" fmla="*/ 6338432 h 6338432"/>
              <a:gd name="connsiteX1" fmla="*/ 1639878 w 5514581"/>
              <a:gd name="connsiteY1" fmla="*/ 10047 h 6338432"/>
              <a:gd name="connsiteX2" fmla="*/ 5514548 w 5514581"/>
              <a:gd name="connsiteY2" fmla="*/ 0 h 6338432"/>
              <a:gd name="connsiteX3" fmla="*/ 5506496 w 5514581"/>
              <a:gd name="connsiteY3" fmla="*/ 6328384 h 6338432"/>
              <a:gd name="connsiteX4" fmla="*/ 0 w 5514581"/>
              <a:gd name="connsiteY4" fmla="*/ 6338432 h 6338432"/>
              <a:gd name="connsiteX0" fmla="*/ 0 w 5514581"/>
              <a:gd name="connsiteY0" fmla="*/ 6338432 h 6338432"/>
              <a:gd name="connsiteX1" fmla="*/ 2654762 w 5514581"/>
              <a:gd name="connsiteY1" fmla="*/ 30144 h 6338432"/>
              <a:gd name="connsiteX2" fmla="*/ 5514548 w 5514581"/>
              <a:gd name="connsiteY2" fmla="*/ 0 h 6338432"/>
              <a:gd name="connsiteX3" fmla="*/ 5506496 w 5514581"/>
              <a:gd name="connsiteY3" fmla="*/ 6328384 h 6338432"/>
              <a:gd name="connsiteX4" fmla="*/ 0 w 5514581"/>
              <a:gd name="connsiteY4" fmla="*/ 6338432 h 6338432"/>
              <a:gd name="connsiteX0" fmla="*/ 0 w 5514581"/>
              <a:gd name="connsiteY0" fmla="*/ 6358529 h 6358529"/>
              <a:gd name="connsiteX1" fmla="*/ 2735149 w 5514581"/>
              <a:gd name="connsiteY1" fmla="*/ 0 h 6358529"/>
              <a:gd name="connsiteX2" fmla="*/ 5514548 w 5514581"/>
              <a:gd name="connsiteY2" fmla="*/ 20097 h 6358529"/>
              <a:gd name="connsiteX3" fmla="*/ 5506496 w 5514581"/>
              <a:gd name="connsiteY3" fmla="*/ 6348481 h 6358529"/>
              <a:gd name="connsiteX4" fmla="*/ 0 w 5514581"/>
              <a:gd name="connsiteY4" fmla="*/ 6358529 h 635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4581" h="6358529">
                <a:moveTo>
                  <a:pt x="0" y="6358529"/>
                </a:moveTo>
                <a:lnTo>
                  <a:pt x="2735149" y="0"/>
                </a:lnTo>
                <a:lnTo>
                  <a:pt x="5514548" y="20097"/>
                </a:lnTo>
                <a:cubicBezTo>
                  <a:pt x="5515213" y="1868301"/>
                  <a:pt x="5505831" y="4500277"/>
                  <a:pt x="5506496" y="6348481"/>
                </a:cubicBezTo>
                <a:lnTo>
                  <a:pt x="0" y="6358529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AC77FB-BF3A-48DD-BBCF-ED9D906592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56"/>
          <a:stretch/>
        </p:blipFill>
        <p:spPr>
          <a:xfrm>
            <a:off x="1" y="5181604"/>
            <a:ext cx="12177994" cy="1676396"/>
          </a:xfrm>
          <a:prstGeom prst="rect">
            <a:avLst/>
          </a:prstGeom>
        </p:spPr>
      </p:pic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76A6B51-E7F6-4491-A3C9-46C2CC60CD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2" y="1151165"/>
            <a:ext cx="8000999" cy="4824487"/>
          </a:xfrm>
        </p:spPr>
        <p:txBody>
          <a:bodyPr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4B962557-AC70-4C4D-8A56-78E44D2C2B4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4843" y="641643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0A73B82-9247-4F1C-9E70-BD08CE61C7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4982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angle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AA2CA-4953-4B32-8AE6-D2DAEF452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FC1417A-FE46-4D14-B76B-A52EBA72EB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6531517" y="357117"/>
            <a:ext cx="5514581" cy="6358529"/>
          </a:xfrm>
          <a:custGeom>
            <a:avLst/>
            <a:gdLst>
              <a:gd name="connsiteX0" fmla="*/ 0 w 11887199"/>
              <a:gd name="connsiteY0" fmla="*/ 5554662 h 5554662"/>
              <a:gd name="connsiteX1" fmla="*/ 2694955 w 11887199"/>
              <a:gd name="connsiteY1" fmla="*/ 0 h 5554662"/>
              <a:gd name="connsiteX2" fmla="*/ 9192244 w 11887199"/>
              <a:gd name="connsiteY2" fmla="*/ 0 h 5554662"/>
              <a:gd name="connsiteX3" fmla="*/ 11887199 w 11887199"/>
              <a:gd name="connsiteY3" fmla="*/ 5554662 h 5554662"/>
              <a:gd name="connsiteX4" fmla="*/ 0 w 11887199"/>
              <a:gd name="connsiteY4" fmla="*/ 5554662 h 5554662"/>
              <a:gd name="connsiteX0" fmla="*/ 0 w 11887199"/>
              <a:gd name="connsiteY0" fmla="*/ 5554662 h 5554662"/>
              <a:gd name="connsiteX1" fmla="*/ 2694955 w 11887199"/>
              <a:gd name="connsiteY1" fmla="*/ 0 h 5554662"/>
              <a:gd name="connsiteX2" fmla="*/ 11885203 w 11887199"/>
              <a:gd name="connsiteY2" fmla="*/ 10049 h 5554662"/>
              <a:gd name="connsiteX3" fmla="*/ 11887199 w 11887199"/>
              <a:gd name="connsiteY3" fmla="*/ 5554662 h 5554662"/>
              <a:gd name="connsiteX4" fmla="*/ 0 w 11887199"/>
              <a:gd name="connsiteY4" fmla="*/ 5554662 h 5554662"/>
              <a:gd name="connsiteX0" fmla="*/ 0 w 11887199"/>
              <a:gd name="connsiteY0" fmla="*/ 6278143 h 6278143"/>
              <a:gd name="connsiteX1" fmla="*/ 8010533 w 11887199"/>
              <a:gd name="connsiteY1" fmla="*/ 0 h 6278143"/>
              <a:gd name="connsiteX2" fmla="*/ 11885203 w 11887199"/>
              <a:gd name="connsiteY2" fmla="*/ 733530 h 6278143"/>
              <a:gd name="connsiteX3" fmla="*/ 11887199 w 11887199"/>
              <a:gd name="connsiteY3" fmla="*/ 6278143 h 6278143"/>
              <a:gd name="connsiteX4" fmla="*/ 0 w 11887199"/>
              <a:gd name="connsiteY4" fmla="*/ 6278143 h 6278143"/>
              <a:gd name="connsiteX0" fmla="*/ 0 w 11895284"/>
              <a:gd name="connsiteY0" fmla="*/ 6328384 h 6328384"/>
              <a:gd name="connsiteX1" fmla="*/ 8010533 w 11895284"/>
              <a:gd name="connsiteY1" fmla="*/ 50241 h 6328384"/>
              <a:gd name="connsiteX2" fmla="*/ 11895251 w 11895284"/>
              <a:gd name="connsiteY2" fmla="*/ 0 h 6328384"/>
              <a:gd name="connsiteX3" fmla="*/ 11887199 w 11895284"/>
              <a:gd name="connsiteY3" fmla="*/ 6328384 h 6328384"/>
              <a:gd name="connsiteX4" fmla="*/ 0 w 11895284"/>
              <a:gd name="connsiteY4" fmla="*/ 6328384 h 6328384"/>
              <a:gd name="connsiteX0" fmla="*/ 0 w 11895284"/>
              <a:gd name="connsiteY0" fmla="*/ 6328384 h 6328384"/>
              <a:gd name="connsiteX1" fmla="*/ 8020581 w 11895284"/>
              <a:gd name="connsiteY1" fmla="*/ 10047 h 6328384"/>
              <a:gd name="connsiteX2" fmla="*/ 11895251 w 11895284"/>
              <a:gd name="connsiteY2" fmla="*/ 0 h 6328384"/>
              <a:gd name="connsiteX3" fmla="*/ 11887199 w 11895284"/>
              <a:gd name="connsiteY3" fmla="*/ 6328384 h 6328384"/>
              <a:gd name="connsiteX4" fmla="*/ 0 w 11895284"/>
              <a:gd name="connsiteY4" fmla="*/ 6328384 h 6328384"/>
              <a:gd name="connsiteX0" fmla="*/ 0 w 5514581"/>
              <a:gd name="connsiteY0" fmla="*/ 6338432 h 6338432"/>
              <a:gd name="connsiteX1" fmla="*/ 1639878 w 5514581"/>
              <a:gd name="connsiteY1" fmla="*/ 10047 h 6338432"/>
              <a:gd name="connsiteX2" fmla="*/ 5514548 w 5514581"/>
              <a:gd name="connsiteY2" fmla="*/ 0 h 6338432"/>
              <a:gd name="connsiteX3" fmla="*/ 5506496 w 5514581"/>
              <a:gd name="connsiteY3" fmla="*/ 6328384 h 6338432"/>
              <a:gd name="connsiteX4" fmla="*/ 0 w 5514581"/>
              <a:gd name="connsiteY4" fmla="*/ 6338432 h 6338432"/>
              <a:gd name="connsiteX0" fmla="*/ 0 w 5514581"/>
              <a:gd name="connsiteY0" fmla="*/ 6338432 h 6338432"/>
              <a:gd name="connsiteX1" fmla="*/ 2654762 w 5514581"/>
              <a:gd name="connsiteY1" fmla="*/ 30144 h 6338432"/>
              <a:gd name="connsiteX2" fmla="*/ 5514548 w 5514581"/>
              <a:gd name="connsiteY2" fmla="*/ 0 h 6338432"/>
              <a:gd name="connsiteX3" fmla="*/ 5506496 w 5514581"/>
              <a:gd name="connsiteY3" fmla="*/ 6328384 h 6338432"/>
              <a:gd name="connsiteX4" fmla="*/ 0 w 5514581"/>
              <a:gd name="connsiteY4" fmla="*/ 6338432 h 6338432"/>
              <a:gd name="connsiteX0" fmla="*/ 0 w 5514581"/>
              <a:gd name="connsiteY0" fmla="*/ 6358529 h 6358529"/>
              <a:gd name="connsiteX1" fmla="*/ 2735149 w 5514581"/>
              <a:gd name="connsiteY1" fmla="*/ 0 h 6358529"/>
              <a:gd name="connsiteX2" fmla="*/ 5514548 w 5514581"/>
              <a:gd name="connsiteY2" fmla="*/ 20097 h 6358529"/>
              <a:gd name="connsiteX3" fmla="*/ 5506496 w 5514581"/>
              <a:gd name="connsiteY3" fmla="*/ 6348481 h 6358529"/>
              <a:gd name="connsiteX4" fmla="*/ 0 w 5514581"/>
              <a:gd name="connsiteY4" fmla="*/ 6358529 h 635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4581" h="6358529">
                <a:moveTo>
                  <a:pt x="0" y="6358529"/>
                </a:moveTo>
                <a:lnTo>
                  <a:pt x="2735149" y="0"/>
                </a:lnTo>
                <a:lnTo>
                  <a:pt x="5514548" y="20097"/>
                </a:lnTo>
                <a:cubicBezTo>
                  <a:pt x="5515213" y="1868301"/>
                  <a:pt x="5505831" y="4500277"/>
                  <a:pt x="5506496" y="6348481"/>
                </a:cubicBezTo>
                <a:lnTo>
                  <a:pt x="0" y="6358529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76A6B51-E7F6-4491-A3C9-46C2CC60CD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2" y="1151165"/>
            <a:ext cx="8000999" cy="4824487"/>
          </a:xfrm>
        </p:spPr>
        <p:txBody>
          <a:bodyPr/>
          <a:lstStyle>
            <a:lvl1pPr>
              <a:defRPr>
                <a:solidFill>
                  <a:srgbClr val="201D1F"/>
                </a:solidFill>
              </a:defRPr>
            </a:lvl1pPr>
            <a:lvl2pPr>
              <a:defRPr>
                <a:solidFill>
                  <a:srgbClr val="201D1F"/>
                </a:solidFill>
              </a:defRPr>
            </a:lvl2pPr>
            <a:lvl3pPr>
              <a:defRPr>
                <a:solidFill>
                  <a:srgbClr val="201D1F"/>
                </a:solidFill>
              </a:defRPr>
            </a:lvl3pPr>
            <a:lvl4pPr>
              <a:defRPr>
                <a:solidFill>
                  <a:srgbClr val="201D1F"/>
                </a:solidFill>
              </a:defRPr>
            </a:lvl4pPr>
            <a:lvl5pPr>
              <a:defRPr>
                <a:solidFill>
                  <a:srgbClr val="201D1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4B1A644-7414-4D60-A09E-1A195845030C}"/>
              </a:ext>
            </a:extLst>
          </p:cNvPr>
          <p:cNvGrpSpPr/>
          <p:nvPr userDrawn="1"/>
        </p:nvGrpSpPr>
        <p:grpSpPr>
          <a:xfrm>
            <a:off x="150813" y="5257800"/>
            <a:ext cx="12027182" cy="1600200"/>
            <a:chOff x="150813" y="5257800"/>
            <a:chExt cx="12027182" cy="16002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2F1DC47-4C83-4255-B654-B9E7B625763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E561CCA-84BB-4356-83C9-F2CFDF9D55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EE63AC8-B774-4C1E-B89E-3E9B6D46B0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5EABCB3-0365-452B-B50C-953042DF45BA}"/>
                </a:ext>
              </a:extLst>
            </p:cNvPr>
            <p:cNvSpPr/>
            <p:nvPr userDrawn="1"/>
          </p:nvSpPr>
          <p:spPr>
            <a:xfrm>
              <a:off x="608012" y="5257800"/>
              <a:ext cx="1816381" cy="70168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13E89F44-DB97-4D7D-BE77-91EBC4243630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B2D98C72-4076-498B-8AC3-03949E6E9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479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with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284411" y="5257800"/>
            <a:ext cx="9753601" cy="68233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13" y="475732"/>
            <a:ext cx="11887200" cy="6754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8CDEF8B-5EB8-4B4D-B2FF-A829F789EE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2" y="1151166"/>
            <a:ext cx="11887199" cy="40886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470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ADD34-2130-4BF6-9300-259E98BBB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89AB0E84-7295-4C4D-AFD6-71C4AFE44728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369912" y="1153678"/>
            <a:ext cx="8525100" cy="4796567"/>
          </a:xfrm>
        </p:spPr>
        <p:txBody>
          <a:bodyPr/>
          <a:lstStyle/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4EA22D6F-793A-4DDF-A470-741CBC0E1E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4183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a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ADD34-2130-4BF6-9300-259E98BBB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89AB0E84-7295-4C4D-AFD6-71C4AFE44728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2369912" y="1153678"/>
            <a:ext cx="8525100" cy="4796567"/>
          </a:xfrm>
        </p:spPr>
        <p:txBody>
          <a:bodyPr/>
          <a:lstStyle/>
          <a:p>
            <a:r>
              <a:rPr lang="en-US"/>
              <a:t>Click icon to add media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25A2002-EAE4-4CD9-AB8A-0D1CC981ED4A}"/>
              </a:ext>
            </a:extLst>
          </p:cNvPr>
          <p:cNvGrpSpPr/>
          <p:nvPr userDrawn="1"/>
        </p:nvGrpSpPr>
        <p:grpSpPr>
          <a:xfrm>
            <a:off x="150813" y="5273971"/>
            <a:ext cx="12027182" cy="1584029"/>
            <a:chOff x="150813" y="5273971"/>
            <a:chExt cx="12027182" cy="158402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9E49B1A-7A1C-483B-AE1C-80F70150EC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7B481BE-62E3-4070-B0F8-E4CB63E8FE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4E577EA-2E91-438C-8AF5-33A62C3D2C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1B0B720-1C2C-479A-B874-7F187A609166}"/>
                </a:ext>
              </a:extLst>
            </p:cNvPr>
            <p:cNvSpPr/>
            <p:nvPr userDrawn="1"/>
          </p:nvSpPr>
          <p:spPr>
            <a:xfrm>
              <a:off x="608012" y="5273971"/>
              <a:ext cx="1816381" cy="676274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Slide Number">
            <a:extLst>
              <a:ext uri="{FF2B5EF4-FFF2-40B4-BE49-F238E27FC236}">
                <a16:creationId xmlns:a16="http://schemas.microsoft.com/office/drawing/2014/main" id="{49C1E746-2850-48B9-8142-A663BFDE4BEA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B6B79E0C-DA1A-4230-9889-3947B9285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9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6C97B27-52D9-41BD-BFBD-3254A7060874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0523AB4-1123-40CF-A1B1-3D12F19C0B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FE1185E-ACCE-472E-BE44-E5CFB6105E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16B0670-69F1-46C1-AEE2-FC8179584C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762E3CE-5A22-42F3-B5C0-7713443F53B9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8CDEF8B-5EB8-4B4D-B2FF-A829F789EE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0812" y="1151166"/>
            <a:ext cx="11887199" cy="40886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C15B1672-CA1D-4CEA-AB95-F8C1549EAE4C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8D15B615-A3D5-4D4D-B47C-F8AFD6AB56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164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150813" y="1151167"/>
            <a:ext cx="5638879" cy="2470120"/>
          </a:xfrm>
        </p:spPr>
        <p:txBody>
          <a:bodyPr/>
          <a:lstStyle>
            <a:lvl1pPr>
              <a:defRPr sz="2400">
                <a:solidFill>
                  <a:srgbClr val="201D1F"/>
                </a:solidFill>
              </a:defRPr>
            </a:lvl1pPr>
            <a:lvl2pPr>
              <a:defRPr sz="2000">
                <a:solidFill>
                  <a:srgbClr val="201D1F"/>
                </a:solidFill>
              </a:defRPr>
            </a:lvl2pPr>
            <a:lvl3pPr>
              <a:defRPr sz="1800">
                <a:solidFill>
                  <a:srgbClr val="201D1F"/>
                </a:solidFill>
              </a:defRPr>
            </a:lvl3pPr>
            <a:lvl4pPr>
              <a:defRPr sz="1600">
                <a:solidFill>
                  <a:srgbClr val="201D1F"/>
                </a:solidFill>
              </a:defRPr>
            </a:lvl4pPr>
            <a:lvl5pPr>
              <a:defRPr sz="1600">
                <a:solidFill>
                  <a:srgbClr val="201D1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992839" y="1151165"/>
            <a:ext cx="5383398" cy="2470120"/>
          </a:xfrm>
        </p:spPr>
        <p:txBody>
          <a:bodyPr/>
          <a:lstStyle>
            <a:lvl1pPr>
              <a:defRPr sz="2400">
                <a:solidFill>
                  <a:srgbClr val="201D1F"/>
                </a:solidFill>
              </a:defRPr>
            </a:lvl1pPr>
            <a:lvl2pPr>
              <a:defRPr sz="2000">
                <a:solidFill>
                  <a:srgbClr val="201D1F"/>
                </a:solidFill>
              </a:defRPr>
            </a:lvl2pPr>
            <a:lvl3pPr>
              <a:defRPr sz="1800">
                <a:solidFill>
                  <a:srgbClr val="201D1F"/>
                </a:solidFill>
              </a:defRPr>
            </a:lvl3pPr>
            <a:lvl4pPr>
              <a:defRPr sz="1600">
                <a:solidFill>
                  <a:srgbClr val="201D1F"/>
                </a:solidFill>
              </a:defRPr>
            </a:lvl4pPr>
            <a:lvl5pPr>
              <a:defRPr sz="1600">
                <a:solidFill>
                  <a:srgbClr val="201D1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7A477A-DD5E-4C8F-A3B0-702AB16FC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13" y="475732"/>
            <a:ext cx="11887200" cy="6754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F3550E52-E4B5-439A-A549-5098223739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9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150813" y="1151167"/>
            <a:ext cx="5638879" cy="2470120"/>
          </a:xfrm>
        </p:spPr>
        <p:txBody>
          <a:bodyPr/>
          <a:lstStyle>
            <a:lvl1pPr>
              <a:defRPr sz="2400">
                <a:solidFill>
                  <a:srgbClr val="201D1F"/>
                </a:solidFill>
              </a:defRPr>
            </a:lvl1pPr>
            <a:lvl2pPr>
              <a:defRPr sz="2000">
                <a:solidFill>
                  <a:srgbClr val="201D1F"/>
                </a:solidFill>
              </a:defRPr>
            </a:lvl2pPr>
            <a:lvl3pPr>
              <a:defRPr sz="1800">
                <a:solidFill>
                  <a:srgbClr val="201D1F"/>
                </a:solidFill>
              </a:defRPr>
            </a:lvl3pPr>
            <a:lvl4pPr>
              <a:defRPr sz="1600">
                <a:solidFill>
                  <a:srgbClr val="201D1F"/>
                </a:solidFill>
              </a:defRPr>
            </a:lvl4pPr>
            <a:lvl5pPr>
              <a:defRPr sz="1600">
                <a:solidFill>
                  <a:srgbClr val="201D1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5992839" y="1151165"/>
            <a:ext cx="5383398" cy="2470120"/>
          </a:xfrm>
        </p:spPr>
        <p:txBody>
          <a:bodyPr/>
          <a:lstStyle>
            <a:lvl1pPr>
              <a:defRPr sz="2400">
                <a:solidFill>
                  <a:srgbClr val="201D1F"/>
                </a:solidFill>
              </a:defRPr>
            </a:lvl1pPr>
            <a:lvl2pPr>
              <a:defRPr sz="2000">
                <a:solidFill>
                  <a:srgbClr val="201D1F"/>
                </a:solidFill>
              </a:defRPr>
            </a:lvl2pPr>
            <a:lvl3pPr>
              <a:defRPr sz="1800">
                <a:solidFill>
                  <a:srgbClr val="201D1F"/>
                </a:solidFill>
              </a:defRPr>
            </a:lvl3pPr>
            <a:lvl4pPr>
              <a:defRPr sz="1600">
                <a:solidFill>
                  <a:srgbClr val="201D1F"/>
                </a:solidFill>
              </a:defRPr>
            </a:lvl4pPr>
            <a:lvl5pPr>
              <a:defRPr sz="1600">
                <a:solidFill>
                  <a:srgbClr val="201D1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7A477A-DD5E-4C8F-A3B0-702AB16FC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13" y="475732"/>
            <a:ext cx="11887200" cy="6754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872ECC-F843-4296-BACD-E9E0DFA40BEE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292B04-D44A-4B44-AA3E-560E9D1AD2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7B9FA19-B144-428A-A78B-2CCE14DDF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881D180-F94D-41F7-8C40-EE9B0263F0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1DDDC6A-A4E4-4055-9550-9F3E6A7B884D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Slide Number">
            <a:extLst>
              <a:ext uri="{FF2B5EF4-FFF2-40B4-BE49-F238E27FC236}">
                <a16:creationId xmlns:a16="http://schemas.microsoft.com/office/drawing/2014/main" id="{1F86059B-82C1-465C-A1AD-8EA009EE37E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687C8E4-3CB3-4932-8447-47C0F519B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970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4F94E6A6-9E06-4DCB-9E95-EF4D91845A5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50813" y="1152841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Chart Placeholder 3">
            <a:extLst>
              <a:ext uri="{FF2B5EF4-FFF2-40B4-BE49-F238E27FC236}">
                <a16:creationId xmlns:a16="http://schemas.microsoft.com/office/drawing/2014/main" id="{BA5B5A8D-9FBE-49AC-986E-7A91A27DDDF6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0812" y="3233057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B79AFAE1-9F3B-41AE-89C8-43BA39EF70C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475412" y="1151166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7" name="Chart Placeholder 3">
            <a:extLst>
              <a:ext uri="{FF2B5EF4-FFF2-40B4-BE49-F238E27FC236}">
                <a16:creationId xmlns:a16="http://schemas.microsoft.com/office/drawing/2014/main" id="{45BA7CFD-1DED-45E1-A210-74E1EB340E2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75411" y="3231382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124A6FC3-550A-46B4-BB5D-48847E93AC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175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4F94E6A6-9E06-4DCB-9E95-EF4D91845A5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50813" y="1152841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Chart Placeholder 3">
            <a:extLst>
              <a:ext uri="{FF2B5EF4-FFF2-40B4-BE49-F238E27FC236}">
                <a16:creationId xmlns:a16="http://schemas.microsoft.com/office/drawing/2014/main" id="{BA5B5A8D-9FBE-49AC-986E-7A91A27DDDF6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0812" y="3233057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Chart Placeholder 3">
            <a:extLst>
              <a:ext uri="{FF2B5EF4-FFF2-40B4-BE49-F238E27FC236}">
                <a16:creationId xmlns:a16="http://schemas.microsoft.com/office/drawing/2014/main" id="{B79AFAE1-9F3B-41AE-89C8-43BA39EF70C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475412" y="1151166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7" name="Chart Placeholder 3">
            <a:extLst>
              <a:ext uri="{FF2B5EF4-FFF2-40B4-BE49-F238E27FC236}">
                <a16:creationId xmlns:a16="http://schemas.microsoft.com/office/drawing/2014/main" id="{45BA7CFD-1DED-45E1-A210-74E1EB340E2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75411" y="3231382"/>
            <a:ext cx="4571999" cy="20574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EBBF91C-C74C-4D66-95EC-FFE21788D119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9576580-96E2-4A6F-8931-964C0CD670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5AEFE90-D3ED-43CF-AC2A-6E869844387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827F48D-D64E-4B29-8322-963025C97C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914BDE8-0030-48C8-90A6-42AD775892EE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B4240B7A-681E-40DD-B0A8-A11D95506AD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E0A31721-3F74-4C47-954E-AE1F028FE1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030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4F94E6A6-9E06-4DCB-9E95-EF4D91845A5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79412" y="1447800"/>
            <a:ext cx="5562600" cy="334295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Chart Placeholder 3">
            <a:extLst>
              <a:ext uri="{FF2B5EF4-FFF2-40B4-BE49-F238E27FC236}">
                <a16:creationId xmlns:a16="http://schemas.microsoft.com/office/drawing/2014/main" id="{F884EE12-BAEB-4FFB-9408-9CB631AE28D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170612" y="1447799"/>
            <a:ext cx="5562600" cy="334295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B71459C-2CA9-48AF-B85B-952CAF7C93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069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/without-pyram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AFFF2-A66C-4F2F-AF6E-EAC64643C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4F94E6A6-9E06-4DCB-9E95-EF4D91845A56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79412" y="1447800"/>
            <a:ext cx="5562600" cy="334295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Chart Placeholder 3">
            <a:extLst>
              <a:ext uri="{FF2B5EF4-FFF2-40B4-BE49-F238E27FC236}">
                <a16:creationId xmlns:a16="http://schemas.microsoft.com/office/drawing/2014/main" id="{F884EE12-BAEB-4FFB-9408-9CB631AE28D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170612" y="1447799"/>
            <a:ext cx="5562600" cy="334295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EC697E-E9E7-449B-AD48-B11BA3D95297}"/>
              </a:ext>
            </a:extLst>
          </p:cNvPr>
          <p:cNvGrpSpPr/>
          <p:nvPr userDrawn="1"/>
        </p:nvGrpSpPr>
        <p:grpSpPr>
          <a:xfrm>
            <a:off x="150813" y="5273970"/>
            <a:ext cx="12027182" cy="1584030"/>
            <a:chOff x="150813" y="5273970"/>
            <a:chExt cx="12027182" cy="158403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DF20E05-7273-4712-A5AE-169C3B8747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/>
            <a:stretch/>
          </p:blipFill>
          <p:spPr>
            <a:xfrm>
              <a:off x="2424393" y="5867400"/>
              <a:ext cx="9753602" cy="990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C26C9A1-6BFA-442B-841E-3B50F5D5D3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78215"/>
            <a:stretch/>
          </p:blipFill>
          <p:spPr>
            <a:xfrm>
              <a:off x="150813" y="5867400"/>
              <a:ext cx="228599" cy="9906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02067E6-9C31-488B-B509-C15201A025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08" t="85556" r="61074"/>
            <a:stretch/>
          </p:blipFill>
          <p:spPr>
            <a:xfrm>
              <a:off x="349354" y="5867400"/>
              <a:ext cx="2316058" cy="99060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6E463E-A619-4217-9EFE-2F83D910B0E0}"/>
                </a:ext>
              </a:extLst>
            </p:cNvPr>
            <p:cNvSpPr/>
            <p:nvPr userDrawn="1"/>
          </p:nvSpPr>
          <p:spPr>
            <a:xfrm>
              <a:off x="608012" y="5273970"/>
              <a:ext cx="1816381" cy="669629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Slide Number">
            <a:extLst>
              <a:ext uri="{FF2B5EF4-FFF2-40B4-BE49-F238E27FC236}">
                <a16:creationId xmlns:a16="http://schemas.microsoft.com/office/drawing/2014/main" id="{3D19083C-1F86-4502-8A2E-C3AB85A8C281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85C97E68-678B-44A7-98D3-F914342E21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813" y="5239821"/>
            <a:ext cx="11887199" cy="72519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68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tags" Target="../tags/tag1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2.xml"/><Relationship Id="rId42" Type="http://schemas.openxmlformats.org/officeDocument/2006/relationships/tags" Target="../tags/tag20.xml"/><Relationship Id="rId47" Type="http://schemas.openxmlformats.org/officeDocument/2006/relationships/tags" Target="../tags/tag25.xml"/><Relationship Id="rId50" Type="http://schemas.openxmlformats.org/officeDocument/2006/relationships/tags" Target="../tags/tag28.xml"/><Relationship Id="rId55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tags" Target="../tags/tag16.xml"/><Relationship Id="rId46" Type="http://schemas.openxmlformats.org/officeDocument/2006/relationships/tags" Target="../tags/tag2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7.xml"/><Relationship Id="rId41" Type="http://schemas.openxmlformats.org/officeDocument/2006/relationships/tags" Target="../tags/tag19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tags" Target="../tags/tag15.xml"/><Relationship Id="rId40" Type="http://schemas.openxmlformats.org/officeDocument/2006/relationships/tags" Target="../tags/tag18.xml"/><Relationship Id="rId45" Type="http://schemas.openxmlformats.org/officeDocument/2006/relationships/tags" Target="../tags/tag23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tags" Target="../tags/tag6.xml"/><Relationship Id="rId36" Type="http://schemas.openxmlformats.org/officeDocument/2006/relationships/tags" Target="../tags/tag14.xml"/><Relationship Id="rId49" Type="http://schemas.openxmlformats.org/officeDocument/2006/relationships/tags" Target="../tags/tag2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4" Type="http://schemas.openxmlformats.org/officeDocument/2006/relationships/tags" Target="../tags/tag22.xml"/><Relationship Id="rId52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tags" Target="../tags/tag13.xml"/><Relationship Id="rId43" Type="http://schemas.openxmlformats.org/officeDocument/2006/relationships/tags" Target="../tags/tag21.xml"/><Relationship Id="rId48" Type="http://schemas.openxmlformats.org/officeDocument/2006/relationships/tags" Target="../tags/tag2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9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56"/>
          <a:stretch/>
        </p:blipFill>
        <p:spPr>
          <a:xfrm>
            <a:off x="1" y="5181604"/>
            <a:ext cx="12177994" cy="167639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9638246"/>
              </p:ext>
            </p:extLst>
          </p:nvPr>
        </p:nvGraphicFramePr>
        <p:xfrm>
          <a:off x="0" y="1"/>
          <a:ext cx="215922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7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803"/>
                      <p:cNvPicPr>
                        <a:picLocks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22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50813" y="1157914"/>
            <a:ext cx="11887200" cy="4116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98174" y="205491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98175" y="755338"/>
            <a:ext cx="1137253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1975692" y="1231275"/>
            <a:ext cx="579967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33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2133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10952851" y="496890"/>
            <a:ext cx="848562" cy="996950"/>
            <a:chOff x="4936" y="176"/>
            <a:chExt cx="40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dirty="0">
                <a:latin typeface="+mn-lt"/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>
            <p:custDataLst>
              <p:tags r:id="rId30"/>
            </p:custDataLst>
          </p:nvPr>
        </p:nvGrpSpPr>
        <p:grpSpPr bwMode="auto">
          <a:xfrm>
            <a:off x="10542328" y="496889"/>
            <a:ext cx="1259089" cy="730250"/>
            <a:chOff x="4750" y="176"/>
            <a:chExt cx="59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dirty="0">
                <a:latin typeface="+mn-lt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>
            <p:custDataLst>
              <p:tags r:id="rId31"/>
            </p:custDataLst>
          </p:nvPr>
        </p:nvGrpSpPr>
        <p:grpSpPr bwMode="auto">
          <a:xfrm>
            <a:off x="10903814" y="496888"/>
            <a:ext cx="1066895" cy="212366"/>
            <a:chOff x="7940395" y="285750"/>
            <a:chExt cx="800380" cy="212365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940395" y="285750"/>
              <a:ext cx="800380" cy="21236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940395" y="285750"/>
              <a:ext cx="0" cy="21236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940395" y="498115"/>
              <a:ext cx="80038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>
            <p:custDataLst>
              <p:tags r:id="rId32"/>
            </p:custDataLst>
          </p:nvPr>
        </p:nvGrpSpPr>
        <p:grpSpPr bwMode="auto">
          <a:xfrm>
            <a:off x="10863759" y="496889"/>
            <a:ext cx="937211" cy="1306517"/>
            <a:chOff x="6655594" y="273840"/>
            <a:chExt cx="703091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  <p:sp>
            <p:nvSpPr>
              <p:cNvPr id="105" name="Arc 39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4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9"/>
              <a:ext cx="3824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4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4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4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dirty="0">
                  <a:latin typeface="+mn-lt"/>
                </a:endParaRPr>
              </a:p>
            </p:txBody>
          </p:sp>
        </p:grpSp>
      </p:grpSp>
      <p:grpSp>
        <p:nvGrpSpPr>
          <p:cNvPr id="106" name="McK Slide Elements" hidden="1"/>
          <p:cNvGrpSpPr/>
          <p:nvPr>
            <p:custDataLst>
              <p:tags r:id="rId33"/>
            </p:custDataLst>
          </p:nvPr>
        </p:nvGrpSpPr>
        <p:grpSpPr bwMode="auto">
          <a:xfrm>
            <a:off x="598175" y="6409605"/>
            <a:ext cx="10882452" cy="368503"/>
            <a:chOff x="121488" y="6352634"/>
            <a:chExt cx="8794114" cy="368503"/>
          </a:xfrm>
        </p:grpSpPr>
        <p:sp>
          <p:nvSpPr>
            <p:cNvPr id="107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08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2775" indent="-612775" defTabSz="913526">
                <a:tabLst>
                  <a:tab pos="61753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56" name="Slide Number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11769652" y="6416436"/>
            <a:ext cx="120225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>
                <a:solidFill>
                  <a:schemeClr val="bg1"/>
                </a:solidFill>
                <a:latin typeface="Calisto MT" panose="02040603050505030304" pitchFamily="18" charset="0"/>
              </a:rPr>
              <a:pPr lvl="0" algn="r"/>
              <a:t>‹#›</a:t>
            </a:fld>
            <a:endParaRPr lang="en-US" sz="800" dirty="0">
              <a:solidFill>
                <a:schemeClr val="bg1"/>
              </a:solidFill>
              <a:latin typeface="Calisto MT" panose="02040603050505030304" pitchFamily="18" charset="0"/>
            </a:endParaRPr>
          </a:p>
        </p:txBody>
      </p:sp>
      <p:pic>
        <p:nvPicPr>
          <p:cNvPr id="57" name="Picture 46">
            <a:extLst>
              <a:ext uri="{FF2B5EF4-FFF2-40B4-BE49-F238E27FC236}">
                <a16:creationId xmlns:a16="http://schemas.microsoft.com/office/drawing/2014/main" id="{31586F8A-B54D-4F3F-8238-41C1D1F1144A}"/>
              </a:ext>
            </a:extLst>
          </p:cNvPr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 rotWithShape="1"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999"/>
          <a:stretch/>
        </p:blipFill>
        <p:spPr bwMode="auto">
          <a:xfrm>
            <a:off x="5413" y="0"/>
            <a:ext cx="12193286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36"/>
            </p:custDataLst>
          </p:nvPr>
        </p:nvSpPr>
        <p:spPr bwMode="auto">
          <a:xfrm>
            <a:off x="150813" y="475732"/>
            <a:ext cx="11887200" cy="675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4FA27E-AD8E-4C5B-9A5D-DEE5AD4F68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4411" y="5294610"/>
            <a:ext cx="9753601" cy="68233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2"/>
                </a:solidFill>
                <a:latin typeface="Corbel" panose="020B0503020204020204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13" r:id="rId2"/>
    <p:sldLayoutId id="2147483703" r:id="rId3"/>
    <p:sldLayoutId id="2147483695" r:id="rId4"/>
    <p:sldLayoutId id="2147483704" r:id="rId5"/>
    <p:sldLayoutId id="2147483699" r:id="rId6"/>
    <p:sldLayoutId id="2147483705" r:id="rId7"/>
    <p:sldLayoutId id="2147483700" r:id="rId8"/>
    <p:sldLayoutId id="2147483706" r:id="rId9"/>
    <p:sldLayoutId id="2147483701" r:id="rId10"/>
    <p:sldLayoutId id="2147483707" r:id="rId11"/>
    <p:sldLayoutId id="2147483702" r:id="rId12"/>
    <p:sldLayoutId id="2147483708" r:id="rId13"/>
    <p:sldLayoutId id="2147483664" r:id="rId14"/>
    <p:sldLayoutId id="2147483709" r:id="rId15"/>
    <p:sldLayoutId id="2147483696" r:id="rId16"/>
    <p:sldLayoutId id="2147483710" r:id="rId17"/>
    <p:sldLayoutId id="2147483698" r:id="rId18"/>
    <p:sldLayoutId id="2147483711" r:id="rId19"/>
    <p:sldLayoutId id="2147483697" r:id="rId20"/>
    <p:sldLayoutId id="2147483712" r:id="rId21"/>
  </p:sldLayoutIdLst>
  <p:hf hdr="0" dt="0"/>
  <p:txStyles>
    <p:titleStyle>
      <a:lvl1pPr algn="l" defTabSz="913526" rtl="0" eaLnBrk="1" fontAlgn="base" hangingPunct="1">
        <a:lnSpc>
          <a:spcPts val="2800"/>
        </a:lnSpc>
        <a:spcBef>
          <a:spcPct val="0"/>
        </a:spcBef>
        <a:spcAft>
          <a:spcPct val="0"/>
        </a:spcAft>
        <a:tabLst>
          <a:tab pos="275353" algn="l"/>
        </a:tabLst>
        <a:defRPr lang="en-US" sz="2800" b="1" baseline="0" noProof="0" dirty="0" smtClean="0">
          <a:solidFill>
            <a:srgbClr val="2A318D"/>
          </a:solidFill>
          <a:latin typeface="Corbel" panose="020B050302020402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chemeClr val="tx1"/>
        </a:buClr>
        <a:defRPr sz="2400" b="1" baseline="0">
          <a:solidFill>
            <a:srgbClr val="201D1F"/>
          </a:solidFill>
          <a:latin typeface="Calisto MT" panose="02040603050505030304" pitchFamily="18" charset="0"/>
          <a:ea typeface="+mn-ea"/>
          <a:cs typeface="+mn-cs"/>
        </a:defRPr>
      </a:lvl1pPr>
      <a:lvl2pPr marL="231775" indent="-230188" algn="l" defTabSz="913526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rgbClr val="201D1F"/>
        </a:buClr>
        <a:buSzPct val="125000"/>
        <a:buFont typeface="Arial" panose="020B0604020202020204" pitchFamily="34" charset="0"/>
        <a:buChar char="•"/>
        <a:defRPr sz="2400" baseline="0">
          <a:solidFill>
            <a:srgbClr val="201D1F"/>
          </a:solidFill>
          <a:latin typeface="Calisto MT" panose="02040603050505030304" pitchFamily="18" charset="0"/>
        </a:defRPr>
      </a:lvl2pPr>
      <a:lvl3pPr marL="465138" indent="-233363" algn="l" defTabSz="913526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rgbClr val="201D1F"/>
        </a:buClr>
        <a:buSzPct val="120000"/>
        <a:buFont typeface="Wingdings" panose="05000000000000000000" pitchFamily="2" charset="2"/>
        <a:buChar char="§"/>
        <a:defRPr sz="2400" baseline="0">
          <a:solidFill>
            <a:srgbClr val="201D1F"/>
          </a:solidFill>
          <a:latin typeface="Calisto MT" panose="02040603050505030304" pitchFamily="18" charset="0"/>
        </a:defRPr>
      </a:lvl3pPr>
      <a:lvl4pPr marL="682625" indent="-214313" algn="l" defTabSz="913526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rgbClr val="201D1F"/>
        </a:buClr>
        <a:buSzPct val="100000"/>
        <a:buFont typeface="Arial" panose="020B0604020202020204" pitchFamily="34" charset="0"/>
        <a:buChar char="•"/>
        <a:defRPr sz="2400" baseline="0">
          <a:solidFill>
            <a:srgbClr val="201D1F"/>
          </a:solidFill>
          <a:latin typeface="Calisto MT" panose="02040603050505030304" pitchFamily="18" charset="0"/>
        </a:defRPr>
      </a:lvl4pPr>
      <a:lvl5pPr marL="914400" indent="-231775" algn="l" defTabSz="913526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rgbClr val="201D1F"/>
        </a:buClr>
        <a:buSzPct val="89000"/>
        <a:buFont typeface="Wingdings" panose="05000000000000000000" pitchFamily="2" charset="2"/>
        <a:buChar char="§"/>
        <a:defRPr sz="2400" baseline="0">
          <a:solidFill>
            <a:srgbClr val="201D1F"/>
          </a:solidFill>
          <a:latin typeface="Calisto MT" panose="02040603050505030304" pitchFamily="18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95" userDrawn="1">
          <p15:clr>
            <a:srgbClr val="F26B43"/>
          </p15:clr>
        </p15:guide>
        <p15:guide id="2" pos="7583" userDrawn="1">
          <p15:clr>
            <a:srgbClr val="F26B43"/>
          </p15:clr>
        </p15:guide>
        <p15:guide id="3" orient="horz" pos="4224" userDrawn="1">
          <p15:clr>
            <a:srgbClr val="F26B43"/>
          </p15:clr>
        </p15:guide>
        <p15:guide id="4" orient="horz" pos="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xosupercutexo.deviantart.com/art/My-Hands-on-a-heart-shaped-172660015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ystander CPR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aving Lives is All in Your Hands</a:t>
            </a:r>
          </a:p>
        </p:txBody>
      </p:sp>
    </p:spTree>
    <p:extLst>
      <p:ext uri="{BB962C8B-B14F-4D97-AF65-F5344CB8AC3E}">
        <p14:creationId xmlns:p14="http://schemas.microsoft.com/office/powerpoint/2010/main" val="4049222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D9968F-634A-48E1-9606-28D9428BAA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DEC8FF-FC57-403E-8468-6E8767D4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13" y="475732"/>
            <a:ext cx="11887200" cy="675434"/>
          </a:xfrm>
        </p:spPr>
        <p:txBody>
          <a:bodyPr/>
          <a:lstStyle/>
          <a:p>
            <a:r>
              <a:rPr lang="en-US" dirty="0"/>
              <a:t>Step 5-Perform Hands-Only CP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9A654F-B1FC-410A-B892-8E3D749DFB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Start Hands-only CPR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In CPR, you compress the victims heart, which helps blood circulate to the vital organs and keeps the victim alive until his/her heart can be restarted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PR is done in the center of the chest between the nipples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With both hands, compress down two inches and release at a rate of 100 to 120 times per minute.</a:t>
            </a:r>
          </a:p>
          <a:p>
            <a:pPr marL="688975" lvl="1" indent="-457200">
              <a:buFont typeface="Wingdings" panose="05000000000000000000" pitchFamily="2" charset="2"/>
              <a:buChar char="§"/>
            </a:pPr>
            <a:r>
              <a:rPr lang="en-US" dirty="0"/>
              <a:t>Too slow doesn’t pump enough blood.</a:t>
            </a:r>
          </a:p>
          <a:p>
            <a:pPr marL="688975" lvl="1" indent="-457200">
              <a:buFont typeface="Wingdings" panose="05000000000000000000" pitchFamily="2" charset="2"/>
              <a:buChar char="§"/>
            </a:pPr>
            <a:r>
              <a:rPr lang="en-US" dirty="0"/>
              <a:t>Too fast doesn’t allow the heart to fill with enough blood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Two inches is enough to squeeze the blood out for circulation. 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Once you have pressed down two inches, release pressure fully and compress again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You can use the song “Staying Alive” if you know it to time your compressions.</a:t>
            </a:r>
          </a:p>
          <a:p>
            <a:pPr marL="457200" indent="-457200">
              <a:buFont typeface="+mj-lt"/>
              <a:buAutoNum type="arabicPeriod"/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35609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803FD-BDE1-4649-85E0-15414BA32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ving Live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CED4195-AC25-45E1-9477-16807D24BC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0948" r="10948"/>
          <a:stretch>
            <a:fillRect/>
          </a:stretch>
        </p:blipFill>
        <p:spPr>
          <a:xfrm>
            <a:off x="6627812" y="596487"/>
            <a:ext cx="4876800" cy="468359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AEFEE8-01A2-4A75-B01A-80E966D94B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If we can increase bystander CPR so that all victims receive CPR when they suffer a cardiac arrest, we will save 50 or more lives each yea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Hands-only CPR is very effectiv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he only bad CPR is no CPR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1073F3-5420-4AB0-871B-FAC488B82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5431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92BCF7A-A3F6-4A5F-A89B-95E5F5BA5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d Samaritan Law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3FDC92-44B7-439F-90F2-1AD627CB4C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Massachusetts and most states have Good Samaritan laws that protect and encourage bystanders to provide CPR and to use a defibrillator to save lives</a:t>
            </a:r>
          </a:p>
        </p:txBody>
      </p:sp>
    </p:spTree>
    <p:extLst>
      <p:ext uri="{BB962C8B-B14F-4D97-AF65-F5344CB8AC3E}">
        <p14:creationId xmlns:p14="http://schemas.microsoft.com/office/powerpoint/2010/main" val="38171274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8AEA7D-47A2-490B-BC48-4D57D5CC24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EAB0E4-0B15-451C-BE75-DA8BD9D53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ew of Steps for Respon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DA5499-16DE-48BA-B7BC-EF49A1A6BD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0812" y="1169146"/>
            <a:ext cx="11887199" cy="4088654"/>
          </a:xfrm>
        </p:spPr>
        <p:txBody>
          <a:bodyPr/>
          <a:lstStyle/>
          <a:p>
            <a:r>
              <a:rPr lang="en-US" b="0" dirty="0"/>
              <a:t>When someone collapses and seems lifeless: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all 911, place phone on speaker mode to leave your hands fre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heck responsiveness of the victim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Ask if there is a defibrillator nearby. 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Place the victim on a flat surface if possibl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Perform hands-only CPR.</a:t>
            </a:r>
          </a:p>
        </p:txBody>
      </p:sp>
    </p:spTree>
    <p:extLst>
      <p:ext uri="{BB962C8B-B14F-4D97-AF65-F5344CB8AC3E}">
        <p14:creationId xmlns:p14="http://schemas.microsoft.com/office/powerpoint/2010/main" val="3883966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16970E-B291-4DB0-976D-C84B304697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EE8E2B-4F94-4529-B877-3698AC0CBA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0" dirty="0"/>
              <a:t>List the steps for performing hands-only cardiopulmonary resuscitation (CP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0" dirty="0"/>
              <a:t>Identify the compression rate range for performing effective CP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0" dirty="0"/>
              <a:t>Explain the significance of the Good Samaritan law for bystanders who observe a person experiencing a cardiac arrest.</a:t>
            </a:r>
          </a:p>
        </p:txBody>
      </p:sp>
    </p:spTree>
    <p:extLst>
      <p:ext uri="{BB962C8B-B14F-4D97-AF65-F5344CB8AC3E}">
        <p14:creationId xmlns:p14="http://schemas.microsoft.com/office/powerpoint/2010/main" val="2633005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4B7439-F4CC-436A-8784-C53009174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s About Sudden Cardiac Arre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903604-0C95-4319-A78C-0B8D456301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Leading cause of dea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Usually occurs at ho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Victims often over age 5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More than 400 deaths in Worcester County each y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Survivors are among those who receive bystander CPR</a:t>
            </a:r>
          </a:p>
        </p:txBody>
      </p:sp>
    </p:spTree>
    <p:extLst>
      <p:ext uri="{BB962C8B-B14F-4D97-AF65-F5344CB8AC3E}">
        <p14:creationId xmlns:p14="http://schemas.microsoft.com/office/powerpoint/2010/main" val="1521839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1DEBDD-A8EE-45C9-AC2D-9594BA6BC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s and CP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78C8D3-3889-44E5-976F-AE9C6F0681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For victims of a cardiac arrest that is observed by bystander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wo out of three victims don’t receive bystander CPR before emergency medical services (EMS) arriv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his greatly reduces their chances of surviv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Hands-only CPR is easier to perform than traditional CPR, is effective and may lead to more bystander CPR helping victi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The only bad CPR is no CPR.</a:t>
            </a:r>
          </a:p>
        </p:txBody>
      </p:sp>
    </p:spTree>
    <p:extLst>
      <p:ext uri="{BB962C8B-B14F-4D97-AF65-F5344CB8AC3E}">
        <p14:creationId xmlns:p14="http://schemas.microsoft.com/office/powerpoint/2010/main" val="1767513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8F2191-0545-40FA-AC2A-E0B38C900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for How to Perfor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D21207-39E5-40B0-BF56-E0A41625EA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When someone collapses and seems lifeless: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all 911, place phone on speaker mode to leave your hands fre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heck responsiveness of the victim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Ask if there is a defibrillator nearby. 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Place the victim on a flat surface if possibl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Perform hands-only CPR.</a:t>
            </a:r>
          </a:p>
        </p:txBody>
      </p:sp>
    </p:spTree>
    <p:extLst>
      <p:ext uri="{BB962C8B-B14F-4D97-AF65-F5344CB8AC3E}">
        <p14:creationId xmlns:p14="http://schemas.microsoft.com/office/powerpoint/2010/main" val="2507886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3E8E58-A233-47AF-A428-2B339A5B1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011" y="475732"/>
            <a:ext cx="11811001" cy="675434"/>
          </a:xfrm>
        </p:spPr>
        <p:txBody>
          <a:bodyPr/>
          <a:lstStyle/>
          <a:p>
            <a:r>
              <a:rPr lang="en-US" dirty="0"/>
              <a:t>Step 1-Call 91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2EFDD0-15BC-4436-A7BF-39FECCFDF7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When someone collapses, act as quickly as possibl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When using a cellphone, place it on speaker mode if possibl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911 operators can help guide you through performing CPR and keep you posted on when help will arrive.</a:t>
            </a:r>
          </a:p>
        </p:txBody>
      </p:sp>
    </p:spTree>
    <p:extLst>
      <p:ext uri="{BB962C8B-B14F-4D97-AF65-F5344CB8AC3E}">
        <p14:creationId xmlns:p14="http://schemas.microsoft.com/office/powerpoint/2010/main" val="2114190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F4CE65-BC11-465D-92EC-026970434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-Check Responsiven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0D2E9C-F1ED-4376-8DDF-F3764C3C08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Check Responsive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Gently shake the victim and ask if he/she is OK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If the victim isn’t breathing, start CP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Many victims will continue breathing, but are unresponsive and their breathing is abnorm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If the victim is unresponsive and not breathing, or breathing abnormally, start CPR.</a:t>
            </a:r>
          </a:p>
        </p:txBody>
      </p:sp>
    </p:spTree>
    <p:extLst>
      <p:ext uri="{BB962C8B-B14F-4D97-AF65-F5344CB8AC3E}">
        <p14:creationId xmlns:p14="http://schemas.microsoft.com/office/powerpoint/2010/main" val="5658932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CD89F1-AD07-4BD3-AF05-792E45A1F7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E23B15-BA82-46D9-B60B-C9FC1701F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3- Ask About a Defibrilla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AF2AC4-9F7A-410B-A683-BF71123492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Ask if there’s a defibrillator nearby and use it if necessary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Automatic external defibrillators (AEDs) are devices that can help restart a cardiac arrest victim’s heart if applied after collaps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AEDs are located in many businesses, malls, airports, casinos and hospitals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These devices will guide untrained bystanders how to use the AED each step of the way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The AED will analyze the heart rhythm and guide the bystander to shock the victim if appropriat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The device also will help guide the bystander in performing CPR.</a:t>
            </a:r>
          </a:p>
        </p:txBody>
      </p:sp>
    </p:spTree>
    <p:extLst>
      <p:ext uri="{BB962C8B-B14F-4D97-AF65-F5344CB8AC3E}">
        <p14:creationId xmlns:p14="http://schemas.microsoft.com/office/powerpoint/2010/main" val="2647628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126557E-F7C2-4EA8-912D-E3E30F59ED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0FDC16-9771-4B2E-9657-885332EE8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4-Place Victim on Flat, Hard Surfa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881140-3436-4248-8641-96A237EAB9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0" dirty="0"/>
              <a:t>Place the victim on a hard, flat surface if possibl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CPR is more effective if the victim is on a flat or hard surfac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0" dirty="0"/>
              <a:t>It’s easier to give bystander CPR if kneeling at the victims side.</a:t>
            </a:r>
          </a:p>
        </p:txBody>
      </p:sp>
    </p:spTree>
    <p:extLst>
      <p:ext uri="{BB962C8B-B14F-4D97-AF65-F5344CB8AC3E}">
        <p14:creationId xmlns:p14="http://schemas.microsoft.com/office/powerpoint/2010/main" val="1981516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3.21949000000000000000E+000&quot;&gt;&lt;m_ppcolschidx val=&quot;0&quot;/&gt;&lt;m_rgb r=&quot;5b&quot; g=&quot;db&quot; b=&quot;24&quot;/&gt;&lt;/elem&gt;&lt;elem m_fUsage=&quot;1.99754100000000000000E+000&quot;&gt;&lt;m_ppcolschidx val=&quot;0&quot;/&gt;&lt;m_rgb r=&quot;ff&quot; g=&quot;21&quot; b=&quot;15&quot;/&gt;&lt;/elem&gt;&lt;/m_vecMRU&gt;&lt;/m_mruColor&gt;&lt;m_mapectfillschemeMRU&gt;&lt;key val=&quot;0&quot;/&gt;&lt;elem&gt;&lt;m_nPartnerID val=&quot;536&quot;/&gt;&lt;m_nIndex val=&quot;2&quot;/&gt;&lt;/elem&gt;&lt;key val=&quot;1&quot;/&gt;&lt;elem&gt;&lt;m_nPartnerID val=&quot;536&quot;/&gt;&lt;m_nIndex val=&quot;1&quot;/&gt;&lt;/elem&gt;&lt;key val=&quot;2&quot;/&gt;&lt;elem&gt;&lt;m_nPartnerID val=&quot;536&quot;/&gt;&lt;m_nIndex val=&quot;2&quot;/&gt;&lt;/elem&gt;&lt;/m_mapectfillschemeMRU&gt;&lt;m_eweekdayFirstOfWeek val=&quot;3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55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CdZlRS0CZ4x.mJOu_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JU0Zmy_0eQhHeoSdUc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SrPjkRIEibp.OzF3Wk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pfBURgRkKQPXD78lxN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n1pidLfkGMEqveWNW8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zmRdeHTEam3udcdBPI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iLLdHmIkyPBdBiNtvv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AN36nkM0.MYJkOhAgV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9JwP1KfE.kSfmFAqOy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oXYtl8EUmrqseG1q39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kVFUMZkW4l.Gi3kV6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0Z0XCdkuQvnY7Jbli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ekWeMS00qjjjJfsIkx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sORh0Ms0KiR0xg_IEe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0CPb7Syk22sj_nhffXng"/>
</p:tagLst>
</file>

<file path=ppt/theme/theme1.xml><?xml version="1.0" encoding="utf-8"?>
<a:theme xmlns:a="http://schemas.openxmlformats.org/drawingml/2006/main" name="PPT_Template_System_12-27-17">
  <a:themeElements>
    <a:clrScheme name="UMassMemorial">
      <a:dk1>
        <a:srgbClr val="2D308D"/>
      </a:dk1>
      <a:lt1>
        <a:srgbClr val="FFFFFF"/>
      </a:lt1>
      <a:dk2>
        <a:srgbClr val="242424"/>
      </a:dk2>
      <a:lt2>
        <a:srgbClr val="FFFFFF"/>
      </a:lt2>
      <a:accent1>
        <a:srgbClr val="B8782B"/>
      </a:accent1>
      <a:accent2>
        <a:srgbClr val="650934"/>
      </a:accent2>
      <a:accent3>
        <a:srgbClr val="29934B"/>
      </a:accent3>
      <a:accent4>
        <a:srgbClr val="1D4396"/>
      </a:accent4>
      <a:accent5>
        <a:srgbClr val="DAA564"/>
      </a:accent5>
      <a:accent6>
        <a:srgbClr val="808080"/>
      </a:accent6>
      <a:hlink>
        <a:srgbClr val="183263"/>
      </a:hlink>
      <a:folHlink>
        <a:srgbClr val="77933C"/>
      </a:folHlink>
    </a:clrScheme>
    <a:fontScheme name="curr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1F48"/>
        </a:dk2>
        <a:lt2>
          <a:srgbClr val="FFFFFF"/>
        </a:lt2>
        <a:accent1>
          <a:srgbClr val="B9CCDF"/>
        </a:accent1>
        <a:accent2>
          <a:srgbClr val="5B81C5"/>
        </a:accent2>
        <a:accent3>
          <a:srgbClr val="183263"/>
        </a:accent3>
        <a:accent4>
          <a:srgbClr val="77933C"/>
        </a:accent4>
        <a:accent5>
          <a:srgbClr val="335490"/>
        </a:accent5>
        <a:accent6>
          <a:srgbClr val="808080"/>
        </a:accent6>
        <a:hlink>
          <a:srgbClr val="183263"/>
        </a:hlink>
        <a:folHlink>
          <a:srgbClr val="7793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Template_System_05-30-18.potx" id="{9F9D37D8-791E-440E-B3A8-D8CE155D6A25}" vid="{BE0A022E-759A-4FF9-8014-FD278654C627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0E9E71896DCD44841EA502C0EDABDC" ma:contentTypeVersion="1" ma:contentTypeDescription="Create a new document." ma:contentTypeScope="" ma:versionID="6d7e118f7cd85fff484128e23412781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7256F0-A3FA-43F9-90E0-B48DD88E80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3D1D2F-5B4F-4B70-95DE-E465975AC023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sharepoint/v3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31D4325-E457-450F-9614-146FE204D9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ystander CPR</Template>
  <TotalTime>24</TotalTime>
  <Words>725</Words>
  <Application>Microsoft Office PowerPoint</Application>
  <PresentationFormat>Custom</PresentationFormat>
  <Paragraphs>6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sto MT</vt:lpstr>
      <vt:lpstr>Corbel</vt:lpstr>
      <vt:lpstr>Wingdings</vt:lpstr>
      <vt:lpstr>PPT_Template_System_12-27-17</vt:lpstr>
      <vt:lpstr>think-cell Slide</vt:lpstr>
      <vt:lpstr>Bystander CPR</vt:lpstr>
      <vt:lpstr>Objectives</vt:lpstr>
      <vt:lpstr>Facts About Sudden Cardiac Arrest</vt:lpstr>
      <vt:lpstr>Bystanders and CPR</vt:lpstr>
      <vt:lpstr>Steps for How to Perform</vt:lpstr>
      <vt:lpstr>Step 1-Call 911</vt:lpstr>
      <vt:lpstr>Step 2-Check Responsiveness</vt:lpstr>
      <vt:lpstr>Step 3- Ask About a Defibrillator</vt:lpstr>
      <vt:lpstr>Step 4-Place Victim on Flat, Hard Surface</vt:lpstr>
      <vt:lpstr>Step 5-Perform Hands-Only CPR</vt:lpstr>
      <vt:lpstr>Saving Lives</vt:lpstr>
      <vt:lpstr>Good Samaritan Laws</vt:lpstr>
      <vt:lpstr>Review of Steps for Respond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ystander CPR</dc:title>
  <dc:creator>Deveny, Pamela</dc:creator>
  <cp:lastModifiedBy>Deveny, Pamela</cp:lastModifiedBy>
  <cp:revision>5</cp:revision>
  <cp:lastPrinted>2013-09-16T16:00:32Z</cp:lastPrinted>
  <dcterms:created xsi:type="dcterms:W3CDTF">2019-03-06T15:48:24Z</dcterms:created>
  <dcterms:modified xsi:type="dcterms:W3CDTF">2019-03-11T17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Saranya S</vt:lpwstr>
  </property>
  <property fmtid="{D5CDD505-2E9C-101B-9397-08002B2CF9AE}" pid="11" name="VGCompatibilityCheck Run On ">
    <vt:lpwstr>6/15/2013 9:17:21 AM</vt:lpwstr>
  </property>
  <property fmtid="{D5CDD505-2E9C-101B-9397-08002B2CF9AE}" pid="12" name="Office2010WasSaved">
    <vt:lpwstr>1</vt:lpwstr>
  </property>
  <property fmtid="{D5CDD505-2E9C-101B-9397-08002B2CF9AE}" pid="13" name="ContentTypeId">
    <vt:lpwstr>0x010100760E9E71896DCD44841EA502C0EDABDC</vt:lpwstr>
  </property>
</Properties>
</file>